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7" r:id="rId10"/>
    <p:sldId id="264" r:id="rId11"/>
    <p:sldId id="265" r:id="rId12"/>
    <p:sldId id="266" r:id="rId13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2" d="100"/>
          <a:sy n="62" d="100"/>
        </p:scale>
        <p:origin x="33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7699F-41DB-49B0-863E-1C63033C8B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3ED64F-C7E5-4C49-91F6-60F0070464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0B0EAB-52F1-4934-A446-A43463F251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528BC5-0EC6-4BF1-9F9B-9C65A2603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573D9F-3B27-4D5B-8819-CF43AD84C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5027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55E63B-9AC2-4FCF-B4E7-B9AA2E52B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C15446-648A-45BD-9CB7-C0ED40DCE3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F2E3E9-7145-4447-90CD-4983DBD41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A7FAEE-9AF5-4F97-8168-3870C10A6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5CCE4B-C1A8-4B75-81DE-D1BFA0BBB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3995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1AD1094-C915-4127-89CE-21FAC972FC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1880A7-359D-4E1A-BB6B-246D1D6C58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464D4-E37C-43D8-8929-E5D8953F1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86C265-DA46-4F06-B10D-6370A232F3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B516C6-AE84-4CEE-897C-DBCF08C3C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18326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0ADD3-FCFB-4B59-BDF8-0801E56F9C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2DBA42-E094-47A7-92A4-8B04EE027B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139F8E-B7CA-4FC7-A093-1BEABAEC3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D25EDF-45D4-4E7A-B686-5038BED5A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A43F1B-26E9-4C42-A1FC-D8AFF9C02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769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BBDE1D-E542-49D0-B56C-36BA1C313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786CB-241A-45C5-97F1-DB3ADDD883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794AC1-F064-4B17-BB15-0BC88FD1C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355B06-50E8-44F6-93C8-210552279E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10A62-3F6A-432F-98C9-E5C9EEC8B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0985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3A1A1-05B5-4779-8C2D-80473D53E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7E92CF-8D98-4247-A6F8-B2EC9992F5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1C2395-A776-44A3-8658-282771A1EC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FD33F8-B52E-4D1A-8E41-E25034FB6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978E9E-038D-4E15-B14B-7FF50C420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4BA8D-575D-4E0B-B39D-8AA158535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15686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1A4C34-CCEC-4DBF-91B1-5EBBD89161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7C173E-F2FE-4F11-AE89-6CF43D03DC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860B87-64F9-4F18-BEF2-F89F27F3A4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6F65B-1384-4855-97A3-0FE0F837DA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1BBDCC-7E1C-4793-8E9A-F7175A2B7A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D4BDD03-FC8D-434B-BC7C-0EA3B0AED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9D46E3E-F3F1-4D85-81D8-8FFFBA1E0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DE5DBE-B31F-4EF5-BA5F-8B9436F25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0408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13B3F-3A22-4C08-A200-FCC7223E0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09FA8C-4578-415F-9256-AE59BE2D2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8FF8B2-9137-43F8-ADF2-31D625639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6506C8-A01A-4CC2-B807-43BD1F73E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5196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814917-D29A-4227-8BDD-C929FE2D9E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0533A0-66D0-444A-8768-B928529586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F35D0D-E6B2-4D47-8FC3-08F714B18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15461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75EDA-9A3D-4962-9EC6-9CD5EE0E2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518B8-C98C-49A1-8642-700FCB907E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54F8A6-D135-4DD5-A8F0-32E6B4539A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8E811C-A4C3-4982-A69C-7B1684C9E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FEF209-C9DB-4E83-9576-AD04B962FC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F4566C-088D-41AE-BFC8-4DF6685699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84417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559B1-80A6-4BFE-9D6A-21AAA6B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FF425D-C397-4118-ADCA-5935925BEF3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8C6DF8-9E52-447A-A1D9-3018432411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0AA582-26A0-4FD7-8671-2F5E00AF5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98F622-0F7F-4270-B5D1-00AEFFB08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07220E-1A31-4ED3-A214-8D203F5F7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9007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0F4A09B-D21B-4D28-ABF7-959073C619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32963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2272A6-F170-4F97-BF45-4890319EA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056BF3-C054-4F50-A0A4-1BDAF3D915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D405C2-CEDE-49E5-B2A2-8A4E98F399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994D4-1B4D-4CF2-84F7-009F0D4B9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D9039-3272-4319-A29F-4F352F31F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5390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99A7D7-F68A-443F-B606-8EDB91874D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096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DDF41D-D5C3-402F-A414-3F3EB0809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Plan Career/</a:t>
            </a:r>
            <a:r>
              <a:rPr lang="en-GB" dirty="0" err="1"/>
              <a:t>LifePlanApp</a:t>
            </a:r>
            <a:r>
              <a:rPr lang="en-GB" dirty="0"/>
              <a:t>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A03920-F693-4B9A-951B-2C60B7E8873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47481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A69EAE-9C5E-4A61-A78A-7B373C7F38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138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3DC0B7-C20A-4BA2-97B4-7570F1213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Go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0BF048-ADF7-44A7-84D3-7D6A7990DF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Shortname</a:t>
            </a:r>
            <a:endParaRPr lang="en-GB" dirty="0"/>
          </a:p>
          <a:p>
            <a:r>
              <a:rPr lang="en-GB" dirty="0"/>
              <a:t>Name</a:t>
            </a:r>
          </a:p>
          <a:p>
            <a:r>
              <a:rPr lang="en-GB" dirty="0"/>
              <a:t>Description</a:t>
            </a:r>
          </a:p>
          <a:p>
            <a:r>
              <a:rPr lang="en-GB" dirty="0" err="1"/>
              <a:t>Duedate</a:t>
            </a:r>
            <a:endParaRPr lang="en-GB" dirty="0"/>
          </a:p>
          <a:p>
            <a:r>
              <a:rPr lang="en-GB" dirty="0" err="1"/>
              <a:t>Category_Person_ID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10324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06AFE8-724D-49E7-B787-52100D31CD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135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0A6661-1523-4146-AE2A-4A0D94D43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bjec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CFBDA9-743D-483E-AA89-F9ED62885A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Shortname</a:t>
            </a:r>
            <a:endParaRPr lang="en-GB" dirty="0"/>
          </a:p>
          <a:p>
            <a:r>
              <a:rPr lang="en-GB" dirty="0"/>
              <a:t>Name</a:t>
            </a:r>
          </a:p>
          <a:p>
            <a:r>
              <a:rPr lang="en-GB" dirty="0"/>
              <a:t>Description</a:t>
            </a:r>
          </a:p>
          <a:p>
            <a:r>
              <a:rPr lang="en-GB" dirty="0"/>
              <a:t>Due-date</a:t>
            </a:r>
          </a:p>
          <a:p>
            <a:r>
              <a:rPr lang="en-GB" dirty="0" err="1"/>
              <a:t>Goal_ID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73615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91F5E0-F371-49DE-A532-99D7590310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092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47ACC5-C731-4948-9227-5B274BC49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as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AC7449-F7C4-4414-A9FE-9FCAFE1219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Shortname</a:t>
            </a:r>
            <a:endParaRPr lang="en-GB" dirty="0"/>
          </a:p>
          <a:p>
            <a:r>
              <a:rPr lang="en-GB" dirty="0"/>
              <a:t>Name</a:t>
            </a:r>
          </a:p>
          <a:p>
            <a:r>
              <a:rPr lang="en-GB" dirty="0"/>
              <a:t>Description</a:t>
            </a:r>
          </a:p>
          <a:p>
            <a:r>
              <a:rPr lang="en-GB" dirty="0"/>
              <a:t>Due-date</a:t>
            </a:r>
          </a:p>
          <a:p>
            <a:r>
              <a:rPr lang="en-GB" dirty="0" err="1"/>
              <a:t>Goal_ID</a:t>
            </a:r>
            <a:endParaRPr lang="en-GB" dirty="0"/>
          </a:p>
          <a:p>
            <a:r>
              <a:rPr lang="en-GB" dirty="0" err="1"/>
              <a:t>Parent_Task_ID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8738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F420FA-7182-4F8C-A69D-9AB55C3BBB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402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A15CA1-7168-4627-A6D4-8CD66543E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Vi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5A6FF2-79ED-41E1-8B9E-6D55C4C165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Create an application that allows people to create visual plans for their lives </a:t>
            </a:r>
          </a:p>
          <a:p>
            <a:r>
              <a:rPr lang="en-GB" sz="2400" dirty="0"/>
              <a:t>It allows them to create goals, with milestones, results and concrete actions</a:t>
            </a:r>
          </a:p>
          <a:p>
            <a:r>
              <a:rPr lang="en-GB" sz="2400" dirty="0"/>
              <a:t>I helps you think through your life strategically, but with sufficient support to see across goals to prevent tunnel vision </a:t>
            </a:r>
          </a:p>
          <a:p>
            <a:r>
              <a:rPr lang="en-GB" sz="2400" dirty="0"/>
              <a:t>In the end, it should be based on research and should also support people in planning a healthy and meaningful life</a:t>
            </a:r>
          </a:p>
          <a:p>
            <a:r>
              <a:rPr lang="en-GB" sz="2400" dirty="0"/>
              <a:t>It could connect with an app and integrate in calendars for full e2e coverage of planning</a:t>
            </a:r>
          </a:p>
          <a:p>
            <a:endParaRPr lang="en-GB" sz="2400" dirty="0"/>
          </a:p>
          <a:p>
            <a:r>
              <a:rPr lang="en-GB" sz="2400" b="1" dirty="0"/>
              <a:t>In the end, it should be a tool that I enjoy using</a:t>
            </a:r>
          </a:p>
        </p:txBody>
      </p:sp>
    </p:spTree>
    <p:extLst>
      <p:ext uri="{BB962C8B-B14F-4D97-AF65-F5344CB8AC3E}">
        <p14:creationId xmlns:p14="http://schemas.microsoft.com/office/powerpoint/2010/main" val="577941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6D06CF-228A-4B4A-921D-B9787AD967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617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915DAB-C8A6-436F-ABB3-83E57EDAC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0C953E-6BC1-4090-B37A-53B07C701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reate an MVP that I enjoy using, but then also start testing on other people how they enjoy it and get feedback on that through adds etc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4937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0E97E7-D1D3-4EE2-A85A-DB6868EFD7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1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85C739-FA4D-4930-8144-E421CB0E1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GB" sz="3200" dirty="0"/>
              <a:t>Create an MVP that I enjoy using, but then also start testing on other people how they enjoy it and get feedbac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1AD017-6521-4E2E-88E3-73717DC3EA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What should be in this MVP</a:t>
            </a:r>
          </a:p>
          <a:p>
            <a:r>
              <a:rPr lang="en-GB" dirty="0"/>
              <a:t>Imagine what your life could be like in ~3 years</a:t>
            </a:r>
          </a:p>
          <a:p>
            <a:r>
              <a:rPr lang="en-GB" dirty="0"/>
              <a:t>Lay down high-level goals across topics</a:t>
            </a:r>
          </a:p>
          <a:p>
            <a:r>
              <a:rPr lang="en-GB" dirty="0"/>
              <a:t>Determine what you could do in your first month to move closer to that goal </a:t>
            </a:r>
          </a:p>
          <a:p>
            <a:r>
              <a:rPr lang="en-GB" dirty="0"/>
              <a:t>Then start planning for the three years in total </a:t>
            </a:r>
          </a:p>
          <a:p>
            <a:endParaRPr lang="en-GB" dirty="0"/>
          </a:p>
          <a:p>
            <a:pPr marL="0" indent="0">
              <a:buNone/>
            </a:pPr>
            <a:r>
              <a:rPr lang="en-GB" b="1" dirty="0"/>
              <a:t>Goal: Make it customizable but not tedious </a:t>
            </a:r>
          </a:p>
        </p:txBody>
      </p:sp>
    </p:spTree>
    <p:extLst>
      <p:ext uri="{BB962C8B-B14F-4D97-AF65-F5344CB8AC3E}">
        <p14:creationId xmlns:p14="http://schemas.microsoft.com/office/powerpoint/2010/main" val="36998414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5C8C43-8FDA-479C-8CF8-FFAF9F0C00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69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3E190E-5E27-4A01-82CB-A43C0C7B7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ages to be creat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9B03DA-51D7-4D9D-9C5B-2819F73F46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Web-app</a:t>
            </a:r>
          </a:p>
          <a:p>
            <a:r>
              <a:rPr lang="en-GB" dirty="0"/>
              <a:t>Registration and onboarding</a:t>
            </a:r>
          </a:p>
          <a:p>
            <a:r>
              <a:rPr lang="en-GB" dirty="0"/>
              <a:t>Overview page </a:t>
            </a:r>
          </a:p>
          <a:p>
            <a:r>
              <a:rPr lang="en-GB" dirty="0"/>
              <a:t>Categorizations, goals, milestones and tasks visualization</a:t>
            </a:r>
          </a:p>
          <a:p>
            <a:r>
              <a:rPr lang="en-GB" dirty="0"/>
              <a:t>Checkbox/journaling option</a:t>
            </a:r>
          </a:p>
          <a:p>
            <a:r>
              <a:rPr lang="en-GB" dirty="0"/>
              <a:t>Habits tracker?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33020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969EA14-469C-4033-AABD-1231A77D67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97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A4F018F-4887-46F1-ADD1-481D9C71D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del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051219-7D34-43EB-8D50-2CD4245716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6834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9A209B-E87C-463F-967F-DBD3959A8C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379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8CFF5F8-CBA7-4F58-8A36-CC8F826BA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rofi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3B38C2-FCFB-45E1-BE31-88CC2FA69C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Firstname</a:t>
            </a:r>
            <a:endParaRPr lang="en-GB" dirty="0"/>
          </a:p>
          <a:p>
            <a:r>
              <a:rPr lang="en-GB" dirty="0" err="1"/>
              <a:t>Lastname</a:t>
            </a:r>
            <a:r>
              <a:rPr lang="en-GB" dirty="0"/>
              <a:t> </a:t>
            </a:r>
          </a:p>
          <a:p>
            <a:r>
              <a:rPr lang="en-GB" dirty="0"/>
              <a:t>Email </a:t>
            </a:r>
          </a:p>
          <a:p>
            <a:r>
              <a:rPr lang="en-GB" dirty="0"/>
              <a:t>Password</a:t>
            </a:r>
          </a:p>
          <a:p>
            <a:r>
              <a:rPr lang="en-GB" dirty="0"/>
              <a:t>Age</a:t>
            </a:r>
          </a:p>
        </p:txBody>
      </p:sp>
    </p:spTree>
    <p:extLst>
      <p:ext uri="{BB962C8B-B14F-4D97-AF65-F5344CB8AC3E}">
        <p14:creationId xmlns:p14="http://schemas.microsoft.com/office/powerpoint/2010/main" val="33681368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138ECF-FAC1-4D67-BE04-02A1B8A4FE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019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6FBC1D-F191-4FAB-B578-BD4E00608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teg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2A3921-2139-443A-B460-616AD87784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Name </a:t>
            </a:r>
          </a:p>
          <a:p>
            <a:r>
              <a:rPr lang="en-GB" dirty="0"/>
              <a:t>Description</a:t>
            </a:r>
          </a:p>
          <a:p>
            <a:r>
              <a:rPr lang="en-GB" dirty="0" err="1"/>
              <a:t>Col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8046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039125-C7BE-4241-B30F-5EC9EFB4DD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76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E2027B-26E7-4920-8536-4A2F83049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Category_Perso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76575B-3421-4443-BBA4-DFDBD6BDEB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Category_ID</a:t>
            </a:r>
            <a:r>
              <a:rPr lang="en-GB" dirty="0"/>
              <a:t> (can be null)</a:t>
            </a:r>
          </a:p>
          <a:p>
            <a:r>
              <a:rPr lang="en-GB" dirty="0"/>
              <a:t>Name </a:t>
            </a:r>
          </a:p>
          <a:p>
            <a:r>
              <a:rPr lang="en-GB" dirty="0"/>
              <a:t>Description</a:t>
            </a:r>
          </a:p>
          <a:p>
            <a:r>
              <a:rPr lang="en-GB" dirty="0" err="1"/>
              <a:t>Color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0218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</TotalTime>
  <Words>305</Words>
  <Application>Microsoft Office PowerPoint</Application>
  <PresentationFormat>Widescreen</PresentationFormat>
  <Paragraphs>65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Calibri Light</vt:lpstr>
      <vt:lpstr>Office Theme</vt:lpstr>
      <vt:lpstr>think-cell Slide</vt:lpstr>
      <vt:lpstr>Plan Career/LifePlanApp </vt:lpstr>
      <vt:lpstr>Vision</vt:lpstr>
      <vt:lpstr>Goals</vt:lpstr>
      <vt:lpstr>Create an MVP that I enjoy using, but then also start testing on other people how they enjoy it and get feedback</vt:lpstr>
      <vt:lpstr>Pages to be created</vt:lpstr>
      <vt:lpstr>Models</vt:lpstr>
      <vt:lpstr>Profile</vt:lpstr>
      <vt:lpstr>Category</vt:lpstr>
      <vt:lpstr>Category_Person</vt:lpstr>
      <vt:lpstr>Goal</vt:lpstr>
      <vt:lpstr>Objective</vt:lpstr>
      <vt:lpstr>Tas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 Career/LifePlanApp </dc:title>
  <dc:creator>Mijsters, Yannick Y</dc:creator>
  <cp:lastModifiedBy>Mijsters, Yannick Y</cp:lastModifiedBy>
  <cp:revision>14</cp:revision>
  <dcterms:created xsi:type="dcterms:W3CDTF">2022-07-10T10:09:41Z</dcterms:created>
  <dcterms:modified xsi:type="dcterms:W3CDTF">2022-07-10T12:1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7-10T10:09:4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0ad9786-0410-4ba2-9da1-410b64bc6074</vt:lpwstr>
  </property>
  <property fmtid="{D5CDD505-2E9C-101B-9397-08002B2CF9AE}" pid="8" name="MSIP_Label_ea60d57e-af5b-4752-ac57-3e4f28ca11dc_ContentBits">
    <vt:lpwstr>0</vt:lpwstr>
  </property>
</Properties>
</file>